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53.xml" ContentType="application/vnd.openxmlformats-officedocument.drawingml.chart+xml"/>
  <Override PartName="/ppt/charts/chart54.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0"/>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AE36A654-1463-4692-8D07-0D7618BAF8F7}">
          <p14:sldIdLst>
            <p14:sldId id="2147477365"/>
            <p14:sldId id="2147477366"/>
            <p14:sldId id="2147477367"/>
            <p14:sldId id="2147477368"/>
            <p14:sldId id="2147477369"/>
            <p14:sldId id="2147477370"/>
            <p14:sldId id="2147477371"/>
            <p14:sldId id="2147477372"/>
            <p14:sldId id="2147477373"/>
            <p14:sldId id="2147477374"/>
          </p14:sldIdLst>
        </p14:section>
        <p14:section name="Sectors Price Correlation Analysis P3Y" id="{15270548-A544-481E-A6E5-341E4A48C23E}">
          <p14:sldIdLst>
            <p14:sldId id="2147477375"/>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s Price Correlation Analysis P3Y" id="{89528FB6-E152-4332-BC58-0CA8A1C0DD4C}">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5/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8290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750498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4430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2377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2942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8254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7123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9943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1694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1398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56864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22208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41129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0775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3607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0628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645122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6107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6029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25155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410126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3811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4200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0427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70999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18907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494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0245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79447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3686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36007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18553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9112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734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44362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485</Words>
  <Application>Microsoft Office PowerPoint</Application>
  <PresentationFormat>On-screen Show (16:9)</PresentationFormat>
  <Paragraphs>455</Paragraphs>
  <Slides>35</Slides>
  <Notes>3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5T07:5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